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3"/>
  </p:notesMasterIdLst>
  <p:handoutMasterIdLst>
    <p:handoutMasterId r:id="rId4"/>
  </p:handoutMasterIdLst>
  <p:sldIdLst>
    <p:sldId id="109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66" d="100"/>
          <a:sy n="66" d="100"/>
        </p:scale>
        <p:origin x="72" y="34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/>
              <a:t>Encabezado</a:t>
            </a:r>
            <a:endParaRPr lang="es-E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7/11/2019</a:t>
            </a:fld>
            <a:endParaRPr lang="es-E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/>
              <a:t>Pie de página</a:t>
            </a:r>
            <a:endParaRPr lang="es-E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/>
              <a:t>Encabezado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7/11/2019</a:t>
            </a:fld>
            <a:endParaRPr lang="es-E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/>
              <a:t>Pie de página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1576533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61148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5058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9247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16903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11" name="Textfeld 100"/>
          <p:cNvSpPr txBox="1"/>
          <p:nvPr userDrawn="1"/>
        </p:nvSpPr>
        <p:spPr>
          <a:xfrm>
            <a:off x="3619500" y="2106613"/>
            <a:ext cx="5186365" cy="26981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    El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Grup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está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constituid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po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la union de dos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ólida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marca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: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 </a:t>
            </a:r>
            <a:r>
              <a:rPr lang="es-ES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idel</a:t>
            </a:r>
            <a: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  <a:t> y </a:t>
            </a:r>
            <a:r>
              <a:rPr lang="es-ES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Gebo</a:t>
            </a:r>
            <a:r>
              <a:rPr lang="es-ES" sz="900" dirty="0">
                <a:solidFill>
                  <a:schemeClr val="bg1"/>
                </a:solidFill>
              </a:rPr>
              <a:t> </a:t>
            </a:r>
            <a:r>
              <a:rPr lang="es-ES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Cermex</a:t>
            </a:r>
            <a: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  <a:t>. Juntos, somos un proveedor líder de equipos y                                                                         </a:t>
            </a:r>
            <a:b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servicios para el envasado de líquidos, alimentos sólidos y productos </a:t>
            </a:r>
            <a:b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para el hogar </a:t>
            </a:r>
            <a:r>
              <a:rPr lang="es-ES" sz="900" b="0" i="0" u="none" strike="noStrike" kern="1200" baseline="0">
                <a:solidFill>
                  <a:schemeClr val="bg1"/>
                </a:solidFill>
                <a:latin typeface="+mn-lt"/>
              </a:rPr>
              <a:t>o el cuidado </a:t>
            </a:r>
            <a: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  <a:t>personal en PET, lata, vidrio y otros materiales.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</a:t>
            </a:r>
          </a:p>
          <a:p>
            <a:pPr algn="just">
              <a:spcBef>
                <a:spcPts val="800"/>
              </a:spcBef>
            </a:pP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Con más de 37 000 máquinas instaladas en más 190 países, contamos con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una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experiencia probada de casi 170 años y prestamos especial atención a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lo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istema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de avanzada, la ingeniería de línea y la innovación. Nuestros más de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5000 empleados distribuidos por todo el mundo sienten una verdadera pasión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po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uministra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soluciones completas que respondan a las necesidades del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client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e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impuls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el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</a:rPr>
              <a:t>desempeñ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de sus líneas, productos y negocios. </a:t>
            </a:r>
          </a:p>
          <a:p>
            <a:pPr algn="just">
              <a:spcBef>
                <a:spcPts val="800"/>
              </a:spcBef>
            </a:pP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Para brindar este nivel de rendimiento, tenemos qu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</a:rPr>
              <a:t>comprende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constantement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lo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reto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de nuestros clientes y comprometernos a alcanzar sus objetivos específicos. Lo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hacemo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mediante el diálogo y el entendimiento de las necesidades de sus mercados,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u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producció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y sus cadenas de valor, y lo complementamos aplicando nuestro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ólid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conocimient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técnico y análisis de datos inteligentes para contribuir a que la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productivida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alc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todo su potencial con una máxima vida útil.</a:t>
            </a:r>
          </a:p>
        </p:txBody>
      </p:sp>
      <p:sp>
        <p:nvSpPr>
          <p:cNvPr id="12" name="Textfeld 110"/>
          <p:cNvSpPr txBox="1"/>
          <p:nvPr userDrawn="1"/>
        </p:nvSpPr>
        <p:spPr>
          <a:xfrm>
            <a:off x="3619500" y="4547459"/>
            <a:ext cx="5186365" cy="6565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endParaRPr lang="en-CA" dirty="0"/>
          </a:p>
          <a:p>
            <a:pPr algn="l">
              <a:spcBef>
                <a:spcPts val="800"/>
              </a:spcBef>
            </a:pPr>
            <a:r>
              <a:rPr dirty="0"/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A esto lo llamamos </a:t>
            </a:r>
            <a:r>
              <a:rPr lang="en-GB" sz="1000" b="1" i="1" u="none" strike="noStrike" kern="1200" baseline="0" dirty="0">
                <a:solidFill>
                  <a:schemeClr val="bg1"/>
                </a:solidFill>
                <a:latin typeface="+mn-lt"/>
              </a:rPr>
              <a:t>Performance through Understanding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</a:rPr>
              <a:t>.</a:t>
            </a:r>
            <a:endParaRPr lang="es-ES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308553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33131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</a:rPr>
              <a:t>Título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27 November 2019</a:t>
            </a:fld>
            <a:endParaRPr lang="es-ES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ágina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s-ES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860287EA-22A3-49DD-96F8-F5AD68EE2DAF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39529702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134"/>
            <a:ext cx="7991475" cy="401774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OR Y VENTAJA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DESCRIPCIÓN</a:t>
              </a:r>
              <a:endParaRPr kumimoji="0" lang="es-E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Reduzca el costo de mantenimiento y el consumo de agua</a:t>
            </a:r>
            <a:br/>
            <a:endParaRPr lang="es-ES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9288" y="1486319"/>
            <a:ext cx="7997825" cy="307975"/>
          </a:xfrm>
        </p:spPr>
        <p:txBody>
          <a:bodyPr/>
          <a:lstStyle/>
          <a:p>
            <a:r>
              <a:rPr dirty="0"/>
              <a:t>Sistema de enfriamiento para el circuito de pulverizadores de agua</a:t>
            </a:r>
            <a:endParaRPr lang="es-ES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tenimien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tenimiento reducid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exibilida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ol de la temperatura del producto a la salida de la máquina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ol de la temperatura del producto personalizado para cada SKU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yor eficiencia de las máquinas aguas abajo.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vida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ción del consumo de agu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alación externa del circuito para brindar suministro a las placas del intercambiador térmico.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ualización del programa informático.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 sistema está diseñado para:</a:t>
            </a:r>
          </a:p>
          <a:p>
            <a:pPr marL="179388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Enfriar el agua que pulveriza el producto en las áreas de enfriamiento.</a:t>
            </a:r>
          </a:p>
          <a:p>
            <a:pPr marL="179388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Controlar la temperatura de los pulverizadores en las áreas de enfriamiento.</a:t>
            </a:r>
            <a:b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Configurar las unidades de referencia de inventario (SKU, por sus siglas en inglés) desde la IHM.</a:t>
            </a:r>
          </a:p>
        </p:txBody>
      </p:sp>
      <p:pic>
        <p:nvPicPr>
          <p:cNvPr id="28" name="Immagine 3">
            <a:extLst>
              <a:ext uri="{FF2B5EF4-FFF2-40B4-BE49-F238E27FC236}">
                <a16:creationId xmlns:a16="http://schemas.microsoft.com/office/drawing/2014/main" id="{D1109873-80C6-4D67-8F2E-DD5B45DE91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29367" y="4317466"/>
            <a:ext cx="851947" cy="1436758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61412F8-B698-441E-BBAE-AECDCFCC9146}"/>
              </a:ext>
            </a:extLst>
          </p:cNvPr>
          <p:cNvSpPr txBox="1">
            <a:spLocks/>
          </p:cNvSpPr>
          <p:nvPr/>
        </p:nvSpPr>
        <p:spPr bwMode="auto">
          <a:xfrm>
            <a:off x="647700" y="5890357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Productividad,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lidad</a:t>
            </a:r>
            <a:r>
              <a:rPr lang="en-US" sz="800" kern="0" dirty="0">
                <a:solidFill>
                  <a:srgbClr val="000000"/>
                </a:solidFill>
              </a:rPr>
              <a:t>, </a:t>
            </a:r>
            <a:r>
              <a:rPr lang="en-US" sz="800" kern="0" dirty="0" err="1">
                <a:solidFill>
                  <a:srgbClr val="000000"/>
                </a:solidFill>
              </a:rPr>
              <a:t>sostenibilidad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steurizador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 VRP-012</a:t>
            </a:r>
          </a:p>
        </p:txBody>
      </p:sp>
    </p:spTree>
    <p:extLst>
      <p:ext uri="{BB962C8B-B14F-4D97-AF65-F5344CB8AC3E}">
        <p14:creationId xmlns:p14="http://schemas.microsoft.com/office/powerpoint/2010/main" val="913093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0</TotalTime>
  <Words>134</Words>
  <Application>Microsoft Office PowerPoint</Application>
  <PresentationFormat>Affichage à l'écran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宋体</vt:lpstr>
      <vt:lpstr>Arial</vt:lpstr>
      <vt:lpstr>Wingdings</vt:lpstr>
      <vt:lpstr>1_NewGeboCermex_Template_4x3_v10_FINAL</vt:lpstr>
      <vt:lpstr>think-cell Folie</vt:lpstr>
      <vt:lpstr>Reduzca el costo de mantenimiento y el consumo de agua 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20</cp:revision>
  <cp:lastPrinted>2017-05-19T07:45:48Z</cp:lastPrinted>
  <dcterms:created xsi:type="dcterms:W3CDTF">2018-01-25T16:00:18Z</dcterms:created>
  <dcterms:modified xsi:type="dcterms:W3CDTF">2019-11-27T13:2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1-27T13:26:09.439484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3T12:03:58.5961639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3T12:03:58.5961639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